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90" y="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9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9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872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1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Sept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5">
            <a:extLst>
              <a:ext uri="{FF2B5EF4-FFF2-40B4-BE49-F238E27FC236}">
                <a16:creationId xmlns:a16="http://schemas.microsoft.com/office/drawing/2014/main" id="{069D18EF-D2FF-4959-A015-909D2D99FF9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773238"/>
            <a:ext cx="7991475" cy="4073525"/>
            <a:chOff x="647700" y="1900238"/>
            <a:chExt cx="7991475" cy="3946525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C20D7B70-1334-487A-8992-C3374B0F5829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C21ED640-0A83-431E-8665-27A23954E1B8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7D277E89-FEF8-4C66-96B5-9CBB3D6CFDFE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94D27B2B-C98E-4F7C-A00D-DC4DD63F5112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33698B71-2FB4-4226-A7AD-72BDEC921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33698B71-2FB4-4226-A7AD-72BDEC9214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45D9C67B-8630-4647-BACC-3F3E5B44C9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fr-FR" altLang="en-US" dirty="0"/>
              <a:t>Gérez votre entreprise en toute sécurité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D251A0CB-5317-41EF-8BDE-6DF4EB48FC5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2938" y="1476375"/>
            <a:ext cx="7997825" cy="277813"/>
          </a:xfrm>
        </p:spPr>
        <p:txBody>
          <a:bodyPr>
            <a:spAutoFit/>
          </a:bodyPr>
          <a:lstStyle/>
          <a:p>
            <a:r>
              <a:rPr lang="fr-FR" altLang="en-US" dirty="0"/>
              <a:t>HMI version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4EDEFFFB-BAA5-4DBC-AD11-333C317D8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62ECE84-2766-4C13-A519-6222D7B78CD5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/>
              <a:t>Valeur</a:t>
            </a:r>
            <a:r>
              <a:rPr sz="800" kern="0" dirty="0"/>
              <a:t> : </a:t>
            </a:r>
            <a:r>
              <a:rPr sz="800" kern="0" dirty="0" err="1"/>
              <a:t>Rendement</a:t>
            </a:r>
            <a:r>
              <a:rPr sz="800" kern="0" dirty="0"/>
              <a:t>, </a:t>
            </a:r>
            <a:r>
              <a:rPr lang="fr-FR" sz="800" kern="0" dirty="0"/>
              <a:t>Flexibilité</a:t>
            </a:r>
            <a:endParaRPr sz="800" kern="0" dirty="0"/>
          </a:p>
          <a:p>
            <a:pPr>
              <a:defRPr/>
            </a:pPr>
            <a:r>
              <a:rPr sz="800" kern="0" dirty="0" err="1"/>
              <a:t>Équipements</a:t>
            </a:r>
            <a:r>
              <a:rPr sz="800" kern="0" dirty="0"/>
              <a:t> : </a:t>
            </a:r>
            <a:r>
              <a:rPr lang="fr-FR" sz="800" kern="0" dirty="0"/>
              <a:t>souffleuses Universal</a:t>
            </a:r>
            <a:endParaRPr sz="800" kern="0" dirty="0"/>
          </a:p>
          <a:p>
            <a:pPr>
              <a:defRPr/>
            </a:pPr>
            <a:r>
              <a:rPr sz="800" kern="0" dirty="0"/>
              <a:t>Code catalogue : </a:t>
            </a:r>
            <a:r>
              <a:rPr lang="fr-FR" sz="800" kern="0" dirty="0"/>
              <a:t>1051</a:t>
            </a:r>
            <a:endParaRPr sz="80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B96BA9-A220-4B77-B344-9F59E705B0F3}"/>
              </a:ext>
            </a:extLst>
          </p:cNvPr>
          <p:cNvSpPr/>
          <p:nvPr/>
        </p:nvSpPr>
        <p:spPr>
          <a:xfrm>
            <a:off x="642938" y="2205129"/>
            <a:ext cx="3889375" cy="3470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Afin de réduire les dommages et préjudices causés par l'erreur humaine, </a:t>
            </a:r>
            <a:r>
              <a:rPr lang="fr-FR" sz="1150" b="1" dirty="0"/>
              <a:t>la cybersécurité est la fondation </a:t>
            </a:r>
            <a:r>
              <a:rPr lang="fr-FR" sz="1150" dirty="0"/>
              <a:t>des systèmes informatiques industriels.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Les meilleures pratiques d'entreprise en matière de défense incluent des contre-mesures basiques mais extrêmement importantes telles que </a:t>
            </a:r>
            <a:r>
              <a:rPr lang="fr-FR" sz="1150" b="1" dirty="0"/>
              <a:t>les mises a jour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La migration de votre HMI vers Windows 10 est votre meilleure solution pour rester à l'abri des menaces en constante évolution des virus.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Les principaux avantages de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Mises à jour du système pour une période plus longue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Windows 10 force les mises à jour automatique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Excellente protection antiviru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Contrôle total sur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Système d'exploitation plus léger et plus rapide</a:t>
            </a:r>
          </a:p>
          <a:p>
            <a:pPr>
              <a:buClr>
                <a:srgbClr val="FF0000"/>
              </a:buClr>
            </a:pPr>
            <a:endParaRPr lang="en-US" sz="1200" dirty="0"/>
          </a:p>
          <a:p>
            <a:pPr>
              <a:buClr>
                <a:srgbClr val="FF0000"/>
              </a:buClr>
            </a:pPr>
            <a:r>
              <a:rPr lang="fr-FR" sz="1200" b="1" dirty="0"/>
              <a:t>Il est temps de passer à Windows 10!</a:t>
            </a:r>
            <a:endParaRPr lang="fr-FR" sz="12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685E7CE-F073-4856-B8B5-68ACFC16771F}"/>
              </a:ext>
            </a:extLst>
          </p:cNvPr>
          <p:cNvGrpSpPr/>
          <p:nvPr/>
        </p:nvGrpSpPr>
        <p:grpSpPr>
          <a:xfrm>
            <a:off x="5621167" y="4077497"/>
            <a:ext cx="2236643" cy="1649682"/>
            <a:chOff x="3082570" y="2077724"/>
            <a:chExt cx="2443653" cy="1631023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0A76ED7-51D6-4336-9B0D-C13C75CCB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0369FF88-269A-47C3-9ABE-175035C26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E76F225F-9C94-4FC9-9348-4C1272022B8A}"/>
              </a:ext>
            </a:extLst>
          </p:cNvPr>
          <p:cNvSpPr/>
          <p:nvPr/>
        </p:nvSpPr>
        <p:spPr>
          <a:xfrm>
            <a:off x="4751389" y="2259383"/>
            <a:ext cx="3858418" cy="1649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b="1" dirty="0">
                <a:solidFill>
                  <a:srgbClr val="000000"/>
                </a:solidFill>
              </a:rPr>
              <a:t>En fonction de votre configuration actuelle</a:t>
            </a:r>
            <a:r>
              <a:rPr lang="fr-FR" sz="1150" dirty="0">
                <a:solidFill>
                  <a:srgbClr val="000000"/>
                </a:solidFill>
              </a:rPr>
              <a:t>, le kit proposé pour migrer votre IHM vers W10 peut inclure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Nouveau PCC (</a:t>
            </a:r>
            <a:r>
              <a:rPr lang="pt-BR" sz="1150" dirty="0">
                <a:solidFill>
                  <a:srgbClr val="000000"/>
                </a:solidFill>
              </a:rPr>
              <a:t>Delta V3 ou V4-10 / CIT)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Nouveau disque dur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Nouvel Eprom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Contrôles de sécurité (</a:t>
            </a:r>
            <a:r>
              <a:rPr lang="fr-FR" sz="1150" dirty="0" err="1">
                <a:solidFill>
                  <a:srgbClr val="000000"/>
                </a:solidFill>
              </a:rPr>
              <a:t>patching</a:t>
            </a:r>
            <a:r>
              <a:rPr lang="fr-FR" sz="1150" dirty="0">
                <a:solidFill>
                  <a:srgbClr val="000000"/>
                </a:solidFill>
              </a:rPr>
              <a:t> et </a:t>
            </a:r>
            <a:r>
              <a:rPr lang="fr-FR" sz="1150" dirty="0" err="1">
                <a:solidFill>
                  <a:srgbClr val="000000"/>
                </a:solidFill>
              </a:rPr>
              <a:t>hardening</a:t>
            </a:r>
            <a:r>
              <a:rPr lang="fr-FR" sz="1150" dirty="0">
                <a:solidFill>
                  <a:srgbClr val="000000"/>
                </a:solidFill>
              </a:rPr>
              <a:t>) à jour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834</TotalTime>
  <Words>174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Gérez votre entreprise en toute sécurité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60</cp:revision>
  <dcterms:created xsi:type="dcterms:W3CDTF">2018-02-10T17:04:39Z</dcterms:created>
  <dcterms:modified xsi:type="dcterms:W3CDTF">2020-09-22T06:4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